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8"/>
  </p:notesMasterIdLst>
  <p:sldIdLst>
    <p:sldId id="2147377213" r:id="rId6"/>
    <p:sldId id="2147377214" r:id="rId7"/>
  </p:sldIdLst>
  <p:sldSz cx="9906000" cy="6858000" type="A4"/>
  <p:notesSz cx="7102475" cy="10234613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C5C5"/>
    <a:srgbClr val="D1D2D4"/>
    <a:srgbClr val="E6E7E9"/>
    <a:srgbClr val="636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134" autoAdjust="0"/>
  </p:normalViewPr>
  <p:slideViewPr>
    <p:cSldViewPr snapToGrid="0">
      <p:cViewPr>
        <p:scale>
          <a:sx n="75" d="100"/>
          <a:sy n="75" d="100"/>
        </p:scale>
        <p:origin x="952" y="1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7C762DF-EB10-41E1-9C9F-3822698AED22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79525"/>
            <a:ext cx="499110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5409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2359E60-057D-4411-AD34-07E219C50B4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333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034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5471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8734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742950" y="1955800"/>
            <a:ext cx="8420100" cy="411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2pPr>
            <a:lvl3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3pPr>
            <a:lvl4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4pPr>
            <a:lvl5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5pPr>
          </a:lstStyle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794027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26415" y="6431375"/>
            <a:ext cx="576210" cy="229935"/>
          </a:xfrm>
        </p:spPr>
        <p:txBody>
          <a:bodyPr wrap="square">
            <a:spAutoFit/>
          </a:bodyPr>
          <a:lstStyle>
            <a:lvl1pPr>
              <a:defRPr sz="89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31693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46800" y="6508520"/>
            <a:ext cx="355826" cy="195438"/>
          </a:xfrm>
        </p:spPr>
        <p:txBody>
          <a:bodyPr wrap="square">
            <a:spAutoFit/>
          </a:bodyPr>
          <a:lstStyle>
            <a:lvl1pPr>
              <a:defRPr sz="67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5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7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813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F655138-28FD-E64F-BD10-FE74AE3BF7A6}"/>
              </a:ext>
            </a:extLst>
          </p:cNvPr>
          <p:cNvSpPr>
            <a:spLocks/>
          </p:cNvSpPr>
          <p:nvPr userDrawn="1"/>
        </p:nvSpPr>
        <p:spPr bwMode="white">
          <a:xfrm>
            <a:off x="-6879" y="3"/>
            <a:ext cx="9912879" cy="6862763"/>
          </a:xfrm>
          <a:custGeom>
            <a:avLst/>
            <a:gdLst>
              <a:gd name="T0" fmla="*/ 14239 w 19200"/>
              <a:gd name="T1" fmla="*/ 0 h 14399"/>
              <a:gd name="T2" fmla="*/ 14239 w 19200"/>
              <a:gd name="T3" fmla="*/ 0 h 14399"/>
              <a:gd name="T4" fmla="*/ 14239 w 19200"/>
              <a:gd name="T5" fmla="*/ 9227 h 14399"/>
              <a:gd name="T6" fmla="*/ 0 w 19200"/>
              <a:gd name="T7" fmla="*/ 9227 h 14399"/>
              <a:gd name="T8" fmla="*/ 0 w 19200"/>
              <a:gd name="T9" fmla="*/ 9869 h 14399"/>
              <a:gd name="T10" fmla="*/ 14239 w 19200"/>
              <a:gd name="T11" fmla="*/ 9869 h 14399"/>
              <a:gd name="T12" fmla="*/ 14239 w 19200"/>
              <a:gd name="T13" fmla="*/ 14399 h 14399"/>
              <a:gd name="T14" fmla="*/ 14881 w 19200"/>
              <a:gd name="T15" fmla="*/ 14399 h 14399"/>
              <a:gd name="T16" fmla="*/ 14881 w 19200"/>
              <a:gd name="T17" fmla="*/ 9869 h 14399"/>
              <a:gd name="T18" fmla="*/ 19200 w 19200"/>
              <a:gd name="T19" fmla="*/ 9869 h 14399"/>
              <a:gd name="T20" fmla="*/ 19200 w 19200"/>
              <a:gd name="T21" fmla="*/ 9227 h 14399"/>
              <a:gd name="T22" fmla="*/ 14881 w 19200"/>
              <a:gd name="T23" fmla="*/ 9227 h 14399"/>
              <a:gd name="T24" fmla="*/ 14881 w 19200"/>
              <a:gd name="T25" fmla="*/ 2789 h 14399"/>
              <a:gd name="T26" fmla="*/ 19200 w 19200"/>
              <a:gd name="T27" fmla="*/ 2789 h 14399"/>
              <a:gd name="T28" fmla="*/ 19200 w 19200"/>
              <a:gd name="T29" fmla="*/ 2147 h 14399"/>
              <a:gd name="T30" fmla="*/ 14881 w 19200"/>
              <a:gd name="T31" fmla="*/ 2147 h 14399"/>
              <a:gd name="T32" fmla="*/ 14881 w 19200"/>
              <a:gd name="T33" fmla="*/ 0 h 14399"/>
              <a:gd name="T34" fmla="*/ 14239 w 19200"/>
              <a:gd name="T35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200" h="14399">
                <a:moveTo>
                  <a:pt x="14239" y="0"/>
                </a:moveTo>
                <a:lnTo>
                  <a:pt x="14239" y="0"/>
                </a:lnTo>
                <a:lnTo>
                  <a:pt x="14239" y="9227"/>
                </a:lnTo>
                <a:lnTo>
                  <a:pt x="0" y="9227"/>
                </a:lnTo>
                <a:lnTo>
                  <a:pt x="0" y="9869"/>
                </a:lnTo>
                <a:lnTo>
                  <a:pt x="14239" y="9869"/>
                </a:lnTo>
                <a:lnTo>
                  <a:pt x="14239" y="14399"/>
                </a:lnTo>
                <a:lnTo>
                  <a:pt x="14881" y="14399"/>
                </a:lnTo>
                <a:lnTo>
                  <a:pt x="14881" y="9869"/>
                </a:lnTo>
                <a:lnTo>
                  <a:pt x="19200" y="9869"/>
                </a:lnTo>
                <a:lnTo>
                  <a:pt x="19200" y="9227"/>
                </a:lnTo>
                <a:lnTo>
                  <a:pt x="14881" y="9227"/>
                </a:lnTo>
                <a:lnTo>
                  <a:pt x="14881" y="2789"/>
                </a:lnTo>
                <a:lnTo>
                  <a:pt x="19200" y="2789"/>
                </a:lnTo>
                <a:lnTo>
                  <a:pt x="19200" y="2147"/>
                </a:lnTo>
                <a:lnTo>
                  <a:pt x="14881" y="2147"/>
                </a:lnTo>
                <a:lnTo>
                  <a:pt x="14881" y="0"/>
                </a:lnTo>
                <a:lnTo>
                  <a:pt x="14239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668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5301" y="457201"/>
            <a:ext cx="5843852" cy="2743200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3576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725845A-5B94-7F4D-845E-DD9CA7AB84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429000"/>
            <a:ext cx="4311948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EEA18B-2A17-48D2-B83A-ECAC99CDB9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/>
          </p:cNvSpPr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428625"/>
            <a:ext cx="44460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  <a:uFillTx/>
              </a:defRPr>
            </a:lvl1pPr>
          </a:lstStyle>
          <a:p>
            <a:r>
              <a:rPr lang="en-US">
                <a:uFillTx/>
              </a:rPr>
              <a:t>Thank you</a:t>
            </a:r>
            <a:endParaRPr lang="en-GB">
              <a:uFillTx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1500" y="5259600"/>
            <a:ext cx="9243000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9pPr>
          </a:lstStyle>
          <a:p>
            <a:pPr lvl="0"/>
            <a:r>
              <a:rPr lang="en-US">
                <a:uFillTx/>
              </a:rPr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8" name="TextBox 7"/>
          <p:cNvSpPr txBox="1">
            <a:spLocks/>
          </p:cNvSpPr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>
                <a:solidFill>
                  <a:schemeClr val="tx1"/>
                </a:solidFill>
                <a:uFillTx/>
              </a:rPr>
              <a:t>www.pwc.com/jp</a:t>
            </a:r>
          </a:p>
        </p:txBody>
      </p:sp>
    </p:spTree>
    <p:extLst>
      <p:ext uri="{BB962C8B-B14F-4D97-AF65-F5344CB8AC3E}">
        <p14:creationId xmlns:p14="http://schemas.microsoft.com/office/powerpoint/2010/main" val="4083325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>
            <a:lvl1pPr>
              <a:defRPr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CA794700-0E7E-40C9-80B2-1F45E31C3A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31736"/>
            <a:ext cx="8920342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Google Shape;22;p71">
            <a:extLst>
              <a:ext uri="{FF2B5EF4-FFF2-40B4-BE49-F238E27FC236}">
                <a16:creationId xmlns:a16="http://schemas.microsoft.com/office/drawing/2014/main" id="{0997E6B9-AD44-499D-8119-4D5916FD91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2950" y="1955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371475" lvl="0" indent="-371475">
              <a:buFont typeface="+mj-lt"/>
              <a:buAutoNum type="arabicPeriod"/>
            </a:pPr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2824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タイトルとコンテンツ">
  <p:cSld name="4_タイトルとコンテンツ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15"/>
          <p:cNvSpPr txBox="1">
            <a:spLocks noGrp="1"/>
          </p:cNvSpPr>
          <p:nvPr>
            <p:ph type="body" idx="1"/>
          </p:nvPr>
        </p:nvSpPr>
        <p:spPr>
          <a:xfrm>
            <a:off x="603973" y="794027"/>
            <a:ext cx="8482500" cy="378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>
            <a:lvl1pPr marL="0" lvl="0" indent="0" algn="l">
              <a:spcBef>
                <a:spcPts val="325"/>
              </a:spcBef>
              <a:spcAft>
                <a:spcPts val="0"/>
              </a:spcAft>
              <a:buSzPts val="2000"/>
              <a:buNone/>
              <a:tabLst/>
              <a:defRPr sz="1625"/>
            </a:lvl1pPr>
            <a:lvl2pPr marL="742950" lvl="1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2pPr>
            <a:lvl3pPr marL="1114425" lvl="2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3pPr>
            <a:lvl4pPr marL="1485900" lvl="3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4pPr>
            <a:lvl5pPr marL="1857375" lvl="4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5pPr>
            <a:lvl6pPr marL="2228850" lvl="5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6pPr>
            <a:lvl7pPr marL="2600325" lvl="6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7pPr>
            <a:lvl8pPr marL="2971800" lvl="7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8pPr>
            <a:lvl9pPr marL="3343275" lvl="8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4" name="Google Shape;34;p415"/>
          <p:cNvSpPr txBox="1"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35" name="Google Shape;35;p415"/>
          <p:cNvSpPr txBox="1">
            <a:spLocks noGrp="1"/>
          </p:cNvSpPr>
          <p:nvPr>
            <p:ph type="sldNum" idx="12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92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9BFE30A-CCA0-44EF-8F59-0DE32EAF4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8354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9BFE30A-CCA0-44EF-8F59-0DE32EAF4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5CE4F12-0820-4D66-BE5E-179CDAC7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8671" y="1218615"/>
            <a:ext cx="5925184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lnSpc>
                <a:spcPct val="120000"/>
              </a:lnSpc>
              <a:defRPr sz="3250" b="1" i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D6707C9C-2033-4A3A-B5CE-985980B3E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8670" y="3870402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部署名・氏名の書式設定</a:t>
            </a:r>
            <a:endParaRPr kumimoji="1" lang="en-US" altLang="ja-JP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3455E2-E2BE-4AB4-8B1C-C5E34AB8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l" defTabSz="74295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44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573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/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560656BB-9422-4240-9DE2-26F5492224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28671" y="4346287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38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日付の書式設定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33A7192-4350-4A2F-ADFB-A056292E6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5156" y="5816600"/>
            <a:ext cx="2940844" cy="1041400"/>
          </a:xfrm>
          <a:prstGeom prst="rect">
            <a:avLst/>
          </a:prstGeom>
        </p:spPr>
      </p:pic>
      <p:pic>
        <p:nvPicPr>
          <p:cNvPr id="6" name="図 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9C3BA0C-03A5-4580-BAF7-8E0DC1E66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58"/>
          <a:stretch/>
        </p:blipFill>
        <p:spPr>
          <a:xfrm>
            <a:off x="0" y="0"/>
            <a:ext cx="3025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3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93E8DA74-C58C-B54D-8934-2C49C04D7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A299BA-BE4E-48C9-B912-FDDFEF57B9B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1" y="2707200"/>
            <a:ext cx="6155983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763" b="1" i="0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FE3834D-783B-4E2B-BDF9-6FB6C6996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500" y="3695646"/>
            <a:ext cx="4190702" cy="6659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11D796F-7669-40CB-A8D7-3723538B13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500" y="1746001"/>
            <a:ext cx="2588716" cy="10460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7719" b="1" i="0">
                <a:solidFill>
                  <a:srgbClr val="00AA40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4C3C36B-6C53-4A32-87F7-A97D54E940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6" r="64375"/>
          <a:stretch/>
        </p:blipFill>
        <p:spPr>
          <a:xfrm>
            <a:off x="0" y="5416824"/>
            <a:ext cx="3529013" cy="1441176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26D4D52-748B-48EE-BEF8-8BE33A45D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77" b="14667"/>
          <a:stretch/>
        </p:blipFill>
        <p:spPr>
          <a:xfrm>
            <a:off x="6614941" y="1"/>
            <a:ext cx="3291060" cy="5852161"/>
          </a:xfrm>
          <a:prstGeom prst="rect">
            <a:avLst/>
          </a:prstGeom>
        </p:spPr>
      </p:pic>
      <p:sp>
        <p:nvSpPr>
          <p:cNvPr id="9" name="スライド番号プレースホルダー 5">
            <a:extLst>
              <a:ext uri="{FF2B5EF4-FFF2-40B4-BE49-F238E27FC236}">
                <a16:creationId xmlns:a16="http://schemas.microsoft.com/office/drawing/2014/main" id="{8976D1DA-C1AD-4237-9897-3109751CB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058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151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ライン入り(廣瀬追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25C95CDE-E51C-4C4E-A585-50C87B5FF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05120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25C95CDE-E51C-4C4E-A585-50C87B5FF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F80FC6A-BD7D-3E47-9362-B83ECAEA1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1246525-C076-4E1C-85E8-9EF3CE1D5A4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0" y="1003343"/>
            <a:ext cx="8649892" cy="939368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メッセージラインの書式設定</a:t>
            </a:r>
            <a:endParaRPr kumimoji="1" lang="en-US" altLang="ja-JP"/>
          </a:p>
          <a:p>
            <a:pPr lvl="0"/>
            <a:endParaRPr kumimoji="1" lang="ja-JP" altLang="en-US"/>
          </a:p>
        </p:txBody>
      </p:sp>
      <p:pic>
        <p:nvPicPr>
          <p:cNvPr id="5" name="図 4" descr="グラフ&#10;&#10;自動的に生成された説明">
            <a:extLst>
              <a:ext uri="{FF2B5EF4-FFF2-40B4-BE49-F238E27FC236}">
                <a16:creationId xmlns:a16="http://schemas.microsoft.com/office/drawing/2014/main" id="{C009A5C7-364F-45AC-80A3-F3EA5AEF8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2"/>
          <a:stretch/>
        </p:blipFill>
        <p:spPr>
          <a:xfrm>
            <a:off x="0" y="0"/>
            <a:ext cx="9906000" cy="202192"/>
          </a:xfrm>
          <a:prstGeom prst="rect">
            <a:avLst/>
          </a:prstGeom>
        </p:spPr>
      </p:pic>
      <p:pic>
        <p:nvPicPr>
          <p:cNvPr id="13" name="図 12" descr="グラフ&#10;&#10;自動的に生成された説明">
            <a:extLst>
              <a:ext uri="{FF2B5EF4-FFF2-40B4-BE49-F238E27FC236}">
                <a16:creationId xmlns:a16="http://schemas.microsoft.com/office/drawing/2014/main" id="{969EC03E-B87D-41C0-9FF9-7068315E4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36" r="30870"/>
          <a:stretch/>
        </p:blipFill>
        <p:spPr>
          <a:xfrm>
            <a:off x="1" y="6689036"/>
            <a:ext cx="6848061" cy="168965"/>
          </a:xfrm>
          <a:prstGeom prst="rect">
            <a:avLst/>
          </a:prstGeom>
        </p:spPr>
      </p:pic>
      <p:sp>
        <p:nvSpPr>
          <p:cNvPr id="8" name="スライド番号プレースホルダー 5">
            <a:extLst>
              <a:ext uri="{FF2B5EF4-FFF2-40B4-BE49-F238E27FC236}">
                <a16:creationId xmlns:a16="http://schemas.microsoft.com/office/drawing/2014/main" id="{F4A1A8FA-2F19-40DC-B730-7306D6A9D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E737E650-16C9-4F79-837F-525F87929E3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3500" y="2082816"/>
            <a:ext cx="8649892" cy="39034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66D6A8B-591D-477C-A73E-3B2C31E7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00" y="216087"/>
            <a:ext cx="8649892" cy="6889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defRPr lang="ja-JP" altLang="en-US" sz="1950" b="1" dirty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38368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B3A5F680-2D2C-4FE7-A027-1B1263694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54946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74210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7851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7590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86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797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50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654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940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900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B0DE8-405E-43F1-BDE6-E677B4B727A3}" type="datetimeFigureOut">
              <a:rPr kumimoji="1" lang="ja-JP" altLang="en-US" smtClean="0"/>
              <a:t>2026/5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847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FD0DE8E-B5B5-405A-87F0-F785782BA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1506469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73" imgH="476" progId="TCLayout.ActiveDocument.1">
                  <p:embed/>
                </p:oleObj>
              </mc:Choice>
              <mc:Fallback>
                <p:oleObj name="think-cell スライド" r:id="rId14" imgW="473" imgH="47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FD0DE8E-B5B5-405A-87F0-F785782BA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4359" y="210828"/>
            <a:ext cx="8042916" cy="583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タイトルの書式設定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447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0CF62AA-8790-48B4-AD16-879979CC4B0D}"/>
              </a:ext>
            </a:extLst>
          </p:cNvPr>
          <p:cNvSpPr/>
          <p:nvPr userDrawn="1"/>
        </p:nvSpPr>
        <p:spPr>
          <a:xfrm>
            <a:off x="238249" y="148200"/>
            <a:ext cx="257959" cy="684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63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D Digi Kyokasho NK-R" panose="02020400000000000000" pitchFamily="18" charset="-128"/>
              <a:ea typeface="UD Digi Kyokasho NK-R" panose="02020400000000000000" pitchFamily="18" charset="-128"/>
              <a:cs typeface="+mn-cs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B4ABE57-EDBD-4894-BF8C-F611A99FF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99" y="6355144"/>
            <a:ext cx="355826" cy="36753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94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40769" y="6535554"/>
            <a:ext cx="1387184" cy="26161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PwC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＋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DX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本部 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BPR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部</a:t>
            </a:r>
          </a:p>
        </p:txBody>
      </p:sp>
    </p:spTree>
    <p:extLst>
      <p:ext uri="{BB962C8B-B14F-4D97-AF65-F5344CB8AC3E}">
        <p14:creationId xmlns:p14="http://schemas.microsoft.com/office/powerpoint/2010/main" val="42575631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600" b="1">
          <a:solidFill>
            <a:schemeClr val="bg2"/>
          </a:solidFill>
          <a:effectLst/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5pPr>
      <a:lvl6pPr marL="37147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6pPr>
      <a:lvl7pPr marL="74295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7pPr>
      <a:lvl8pPr marL="111442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8pPr>
      <a:lvl9pPr marL="148590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95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625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30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D8E329A-074A-9343-F8E3-06171697A1D7}"/>
              </a:ext>
            </a:extLst>
          </p:cNvPr>
          <p:cNvSpPr/>
          <p:nvPr/>
        </p:nvSpPr>
        <p:spPr>
          <a:xfrm>
            <a:off x="219000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外観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D755C5A-C305-8356-8D2B-8E0BB6EAC78D}"/>
              </a:ext>
            </a:extLst>
          </p:cNvPr>
          <p:cNvSpPr/>
          <p:nvPr/>
        </p:nvSpPr>
        <p:spPr>
          <a:xfrm>
            <a:off x="2535225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</a:t>
            </a: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graphicFrame>
        <p:nvGraphicFramePr>
          <p:cNvPr id="132" name="表 132">
            <a:extLst>
              <a:ext uri="{FF2B5EF4-FFF2-40B4-BE49-F238E27FC236}">
                <a16:creationId xmlns:a16="http://schemas.microsoft.com/office/drawing/2014/main" id="{1D82F536-F9AB-C988-889A-D93AC0235D7C}"/>
              </a:ext>
            </a:extLst>
          </p:cNvPr>
          <p:cNvGraphicFramePr>
            <a:graphicFrameLocks noGrp="1"/>
          </p:cNvGraphicFramePr>
          <p:nvPr/>
        </p:nvGraphicFramePr>
        <p:xfrm>
          <a:off x="2535225" y="3246220"/>
          <a:ext cx="2210401" cy="79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3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607010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70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所在地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神奈川県横浜市西区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みなとみらい５丁目１番２号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交通アクセス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JR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線他「横浜」駅徒歩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分</a:t>
                      </a:r>
                      <a:endParaRPr kumimoji="1" lang="en-US" altLang="ja-JP" sz="7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みなとみらい線「新高島」駅徒歩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分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</a:tbl>
          </a:graphicData>
        </a:graphic>
      </p:graphicFrame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C33FB88-D072-F800-65FF-D0544D830B7F}"/>
              </a:ext>
            </a:extLst>
          </p:cNvPr>
          <p:cNvSpPr/>
          <p:nvPr/>
        </p:nvSpPr>
        <p:spPr>
          <a:xfrm>
            <a:off x="219000" y="4295951"/>
            <a:ext cx="4529522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物件概要</a:t>
            </a:r>
          </a:p>
        </p:txBody>
      </p:sp>
      <p:graphicFrame>
        <p:nvGraphicFramePr>
          <p:cNvPr id="10" name="表 132">
            <a:extLst>
              <a:ext uri="{FF2B5EF4-FFF2-40B4-BE49-F238E27FC236}">
                <a16:creationId xmlns:a16="http://schemas.microsoft.com/office/drawing/2014/main" id="{07C5E8E9-9B2C-3432-4A6A-C81BE31F7A30}"/>
              </a:ext>
            </a:extLst>
          </p:cNvPr>
          <p:cNvGraphicFramePr>
            <a:graphicFrameLocks noGrp="1"/>
          </p:cNvGraphicFramePr>
          <p:nvPr/>
        </p:nvGraphicFramePr>
        <p:xfrm>
          <a:off x="219000" y="4355791"/>
          <a:ext cx="4526626" cy="2083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670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3290956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規模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F/30F</a:t>
                      </a:r>
                      <a:endParaRPr kumimoji="1" lang="ja-JP" altLang="en-US" sz="9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延床面積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5,202.69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竣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24/03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造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造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施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貸主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日鉄興和不動産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752365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の他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横浜駅から雨に濡れずにアクセス可能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非常用発電機設置、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CG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導入、制震構造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EL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５つ星、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ZEB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 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Ready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認証取得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</a:tbl>
          </a:graphicData>
        </a:graphic>
      </p:graphicFrame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62450FA-A9FD-5C97-6A40-588DDED5A857}"/>
              </a:ext>
            </a:extLst>
          </p:cNvPr>
          <p:cNvSpPr/>
          <p:nvPr/>
        </p:nvSpPr>
        <p:spPr>
          <a:xfrm>
            <a:off x="5151000" y="1325414"/>
            <a:ext cx="4536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空室状況</a:t>
            </a:r>
          </a:p>
        </p:txBody>
      </p:sp>
      <p:graphicFrame>
        <p:nvGraphicFramePr>
          <p:cNvPr id="20" name="表 132">
            <a:extLst>
              <a:ext uri="{FF2B5EF4-FFF2-40B4-BE49-F238E27FC236}">
                <a16:creationId xmlns:a16="http://schemas.microsoft.com/office/drawing/2014/main" id="{9463F64F-5131-0F97-6DF7-303D7B601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1747970"/>
              </p:ext>
            </p:extLst>
          </p:nvPr>
        </p:nvGraphicFramePr>
        <p:xfrm>
          <a:off x="5146158" y="1392456"/>
          <a:ext cx="4535999" cy="50519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0650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697826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  <a:gridCol w="690036">
                  <a:extLst>
                    <a:ext uri="{9D8B030D-6E8A-4147-A177-3AD203B41FA5}">
                      <a16:colId xmlns:a16="http://schemas.microsoft.com/office/drawing/2014/main" val="502388552"/>
                    </a:ext>
                  </a:extLst>
                </a:gridCol>
                <a:gridCol w="670915">
                  <a:extLst>
                    <a:ext uri="{9D8B030D-6E8A-4147-A177-3AD203B41FA5}">
                      <a16:colId xmlns:a16="http://schemas.microsoft.com/office/drawing/2014/main" val="1416647194"/>
                    </a:ext>
                  </a:extLst>
                </a:gridCol>
                <a:gridCol w="1006185">
                  <a:extLst>
                    <a:ext uri="{9D8B030D-6E8A-4147-A177-3AD203B41FA5}">
                      <a16:colId xmlns:a16="http://schemas.microsoft.com/office/drawing/2014/main" val="2584319203"/>
                    </a:ext>
                  </a:extLst>
                </a:gridCol>
                <a:gridCol w="810387">
                  <a:extLst>
                    <a:ext uri="{9D8B030D-6E8A-4147-A177-3AD203B41FA5}">
                      <a16:colId xmlns:a16="http://schemas.microsoft.com/office/drawing/2014/main" val="3765219893"/>
                    </a:ext>
                  </a:extLst>
                </a:gridCol>
              </a:tblGrid>
              <a:tr h="172329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ロア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用途</a:t>
                      </a:r>
                      <a:endParaRPr kumimoji="1" lang="en-US" altLang="ja-JP" sz="10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面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 b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居時期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備考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50125">
                <a:tc vMerge="1">
                  <a:txBody>
                    <a:bodyPr/>
                    <a:lstStyle/>
                    <a:p>
                      <a:pPr algn="dist"/>
                      <a:endParaRPr kumimoji="1" lang="ja-JP" altLang="en-US" sz="80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72000" marR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en-US" altLang="ja-JP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2</a:t>
                      </a:r>
                      <a:endParaRPr kumimoji="1" lang="ja-JP" altLang="en-US" sz="9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４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47.77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19.09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２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016.60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,360.66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7509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8460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55342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6966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75348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23918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151696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55115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092256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81535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7878361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30789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6497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35824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5168709"/>
                  </a:ext>
                </a:extLst>
              </a:tr>
            </a:tbl>
          </a:graphicData>
        </a:graphic>
      </p:graphicFrame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718A336-AC46-716D-72EA-69A839F8D312}"/>
              </a:ext>
            </a:extLst>
          </p:cNvPr>
          <p:cNvSpPr/>
          <p:nvPr/>
        </p:nvSpPr>
        <p:spPr>
          <a:xfrm>
            <a:off x="219000" y="125039"/>
            <a:ext cx="1573553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神奈川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市西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吹き出し: 四角形 1">
            <a:extLst>
              <a:ext uri="{FF2B5EF4-FFF2-40B4-BE49-F238E27FC236}">
                <a16:creationId xmlns:a16="http://schemas.microsoft.com/office/drawing/2014/main" id="{CB8DA6FB-F239-937B-5850-A1297DFF8827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AB47E0-7679-69BE-8F08-9B4B00DE2634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シンフォステージ ウエストタワー</a:t>
            </a:r>
          </a:p>
        </p:txBody>
      </p:sp>
      <p:pic>
        <p:nvPicPr>
          <p:cNvPr id="9" name="図 8" descr="建物, 屋外, 市, 大きい が含まれている画像&#10;&#10;自動的に生成された説明">
            <a:extLst>
              <a:ext uri="{FF2B5EF4-FFF2-40B4-BE49-F238E27FC236}">
                <a16:creationId xmlns:a16="http://schemas.microsoft.com/office/drawing/2014/main" id="{ECC795F1-90EB-61A4-4E3B-D86E2F9DC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646" y="1385254"/>
            <a:ext cx="1622601" cy="2575540"/>
          </a:xfrm>
          <a:prstGeom prst="rect">
            <a:avLst/>
          </a:prstGeom>
        </p:spPr>
      </p:pic>
      <p:pic>
        <p:nvPicPr>
          <p:cNvPr id="12" name="図 11" descr="マップ&#10;&#10;自動的に生成された説明">
            <a:extLst>
              <a:ext uri="{FF2B5EF4-FFF2-40B4-BE49-F238E27FC236}">
                <a16:creationId xmlns:a16="http://schemas.microsoft.com/office/drawing/2014/main" id="{FCD8EE56-D897-3B07-DCDC-45673CD864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4093" y="1426650"/>
            <a:ext cx="2094879" cy="148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334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AC4530D-D50F-1372-74C5-958D6FBF5BEE}"/>
              </a:ext>
            </a:extLst>
          </p:cNvPr>
          <p:cNvSpPr/>
          <p:nvPr/>
        </p:nvSpPr>
        <p:spPr>
          <a:xfrm>
            <a:off x="219000" y="125039"/>
            <a:ext cx="1573553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神奈川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市西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889D860-D342-A72E-3E09-ACD990CBB50C}"/>
              </a:ext>
            </a:extLst>
          </p:cNvPr>
          <p:cNvSpPr/>
          <p:nvPr/>
        </p:nvSpPr>
        <p:spPr>
          <a:xfrm>
            <a:off x="219000" y="1325414"/>
            <a:ext cx="9468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フロア図面</a:t>
            </a:r>
          </a:p>
        </p:txBody>
      </p:sp>
      <p:sp>
        <p:nvSpPr>
          <p:cNvPr id="5" name="吹き出し: 四角形 4">
            <a:extLst>
              <a:ext uri="{FF2B5EF4-FFF2-40B4-BE49-F238E27FC236}">
                <a16:creationId xmlns:a16="http://schemas.microsoft.com/office/drawing/2014/main" id="{B0D0A455-EBCB-DE75-F309-2797E3BD5636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15DC2D-2606-2CE1-2009-B4F19E57C441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シンフォステージ ウエストタワー</a:t>
            </a:r>
          </a:p>
        </p:txBody>
      </p:sp>
      <p:pic>
        <p:nvPicPr>
          <p:cNvPr id="7" name="図 6" descr="ダイアグラム&#10;&#10;自動的に生成された説明">
            <a:extLst>
              <a:ext uri="{FF2B5EF4-FFF2-40B4-BE49-F238E27FC236}">
                <a16:creationId xmlns:a16="http://schemas.microsoft.com/office/drawing/2014/main" id="{7FCFECF2-C953-6A7D-79AB-F1CFF1E5D8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7698" y="1667257"/>
            <a:ext cx="7650604" cy="470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649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377206,1,Slide21473769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ﾃﾝﾌﾟﾚｰﾄ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大林組様テンプレート">
      <a:majorFont>
        <a:latin typeface="UD Digi Kyokasho NK-R"/>
        <a:ea typeface="UD Digi Kyokasho NK-R"/>
        <a:cs typeface=""/>
      </a:majorFont>
      <a:minorFont>
        <a:latin typeface="UD Digi Kyokasho NK-R"/>
        <a:ea typeface="UD Digi Kyokasho NK-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2"/>
            </a:solidFill>
          </a:defRPr>
        </a:defPPr>
      </a:lstStyle>
    </a:spDef>
    <a:lnDef>
      <a:spPr bwMode="auto">
        <a:solidFill>
          <a:schemeClr val="tx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marL="0" indent="0" algn="l">
          <a:buFont typeface="Arial" panose="020B0604020202020204" pitchFamily="34" charset="0"/>
          <a:buNone/>
          <a:defRPr kumimoji="1" dirty="0" smtClean="0">
            <a:solidFill>
              <a:schemeClr val="bg2"/>
            </a:solidFill>
            <a:latin typeface="UD Digi Kyokasho NK-R" panose="02020400000000000000" pitchFamily="18" charset="-128"/>
            <a:ea typeface="UD Digi Kyokasho NK-R" panose="02020400000000000000" pitchFamily="18" charset="-128"/>
          </a:defRPr>
        </a:defPPr>
      </a:lstStyle>
    </a:txDef>
  </a:objectDefaults>
  <a:extraClrSchemeLst>
    <a:extraClrScheme>
      <a:clrScheme name="ﾃﾝﾌﾟﾚｰﾄ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ﾃﾝﾌﾟﾚｰﾄ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4BFB38D3924BA449DD2A3F9AC8598C1" ma:contentTypeVersion="4" ma:contentTypeDescription="新しいドキュメントを作成します。" ma:contentTypeScope="" ma:versionID="01896ae8ec9c3c34ea775b5233e7c560">
  <xsd:schema xmlns:xsd="http://www.w3.org/2001/XMLSchema" xmlns:xs="http://www.w3.org/2001/XMLSchema" xmlns:p="http://schemas.microsoft.com/office/2006/metadata/properties" xmlns:ns2="b5215eb2-3612-46fb-928c-80b25e3af644" targetNamespace="http://schemas.microsoft.com/office/2006/metadata/properties" ma:root="true" ma:fieldsID="c8048a0ba54dabe6847b807659176d2e" ns2:_="">
    <xsd:import namespace="b5215eb2-3612-46fb-928c-80b25e3af6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5eb2-3612-46fb-928c-80b25e3a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2DE2D4B-A091-4835-884C-2C2747A05F41}">
  <ds:schemaRefs>
    <ds:schemaRef ds:uri="http://purl.org/dc/elements/1.1/"/>
    <ds:schemaRef ds:uri="http://schemas.microsoft.com/office/2006/metadata/properties"/>
    <ds:schemaRef ds:uri="b5215eb2-3612-46fb-928c-80b25e3af64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4846FA7-67CE-4186-93F9-26130B0FD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15eb2-3612-46fb-928c-80b25e3af6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A60279D-43C8-4068-BC32-F3495D445EF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00</TotalTime>
  <Words>163</Words>
  <Application>Microsoft Office PowerPoint</Application>
  <PresentationFormat>A4 210 x 297 mm</PresentationFormat>
  <Paragraphs>60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ＭＳ Ｐゴシック</vt:lpstr>
      <vt:lpstr>UD デジタル 教科書体 NK-R</vt:lpstr>
      <vt:lpstr>UD デジタル 教科書体 NK-R</vt:lpstr>
      <vt:lpstr>Yu Gothic</vt:lpstr>
      <vt:lpstr>Yu Gothic</vt:lpstr>
      <vt:lpstr>Arial</vt:lpstr>
      <vt:lpstr>Calibri</vt:lpstr>
      <vt:lpstr>Calibri Light</vt:lpstr>
      <vt:lpstr>Wingdings</vt:lpstr>
      <vt:lpstr>Office テーマ</vt:lpstr>
      <vt:lpstr>ﾃﾝﾌﾟﾚｰﾄ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aoki Takeshita (JP)</dc:creator>
  <cp:lastModifiedBy>梅津一馬</cp:lastModifiedBy>
  <cp:revision>45</cp:revision>
  <cp:lastPrinted>2025-12-11T07:44:19Z</cp:lastPrinted>
  <dcterms:created xsi:type="dcterms:W3CDTF">2023-10-06T04:57:11Z</dcterms:created>
  <dcterms:modified xsi:type="dcterms:W3CDTF">2026-05-29T00:3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FB38D3924BA449DD2A3F9AC8598C1</vt:lpwstr>
  </property>
  <property fmtid="{D5CDD505-2E9C-101B-9397-08002B2CF9AE}" pid="3" name="用語セット">
    <vt:lpwstr/>
  </property>
  <property fmtid="{D5CDD505-2E9C-101B-9397-08002B2CF9AE}" pid="4" name="MediaServiceImageTags">
    <vt:lpwstr/>
  </property>
</Properties>
</file>